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6" r:id="rId1"/>
  </p:sldMasterIdLst>
  <p:notesMasterIdLst>
    <p:notesMasterId r:id="rId3"/>
  </p:notesMasterIdLst>
  <p:sldIdLst>
    <p:sldId id="256" r:id="rId2"/>
  </p:sldIdLst>
  <p:sldSz cx="8999538" cy="107997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282"/>
    <p:restoredTop sz="94719"/>
  </p:normalViewPr>
  <p:slideViewPr>
    <p:cSldViewPr snapToGrid="0">
      <p:cViewPr>
        <p:scale>
          <a:sx n="112" d="100"/>
          <a:sy n="112" d="100"/>
        </p:scale>
        <p:origin x="2224" y="-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8F033-DD6D-064C-81FD-FC77C78D6EF5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1143000"/>
            <a:ext cx="25717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131C0D-AC0F-5448-B7EF-72C05228772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6495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43125" y="1143000"/>
            <a:ext cx="25717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131C0D-AC0F-5448-B7EF-72C05228772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304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4966" y="1767462"/>
            <a:ext cx="7649607" cy="3759917"/>
          </a:xfrm>
        </p:spPr>
        <p:txBody>
          <a:bodyPr anchor="b"/>
          <a:lstStyle>
            <a:lvl1pPr algn="ctr">
              <a:defRPr sz="590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4942" y="5672376"/>
            <a:ext cx="6749654" cy="2607442"/>
          </a:xfrm>
        </p:spPr>
        <p:txBody>
          <a:bodyPr/>
          <a:lstStyle>
            <a:lvl1pPr marL="0" indent="0" algn="ctr">
              <a:buNone/>
              <a:defRPr sz="2362"/>
            </a:lvl1pPr>
            <a:lvl2pPr marL="449976" indent="0" algn="ctr">
              <a:buNone/>
              <a:defRPr sz="1968"/>
            </a:lvl2pPr>
            <a:lvl3pPr marL="899952" indent="0" algn="ctr">
              <a:buNone/>
              <a:defRPr sz="1772"/>
            </a:lvl3pPr>
            <a:lvl4pPr marL="1349929" indent="0" algn="ctr">
              <a:buNone/>
              <a:defRPr sz="1575"/>
            </a:lvl4pPr>
            <a:lvl5pPr marL="1799905" indent="0" algn="ctr">
              <a:buNone/>
              <a:defRPr sz="1575"/>
            </a:lvl5pPr>
            <a:lvl6pPr marL="2249881" indent="0" algn="ctr">
              <a:buNone/>
              <a:defRPr sz="1575"/>
            </a:lvl6pPr>
            <a:lvl7pPr marL="2699857" indent="0" algn="ctr">
              <a:buNone/>
              <a:defRPr sz="1575"/>
            </a:lvl7pPr>
            <a:lvl8pPr marL="3149834" indent="0" algn="ctr">
              <a:buNone/>
              <a:defRPr sz="1575"/>
            </a:lvl8pPr>
            <a:lvl9pPr marL="3599810" indent="0" algn="ctr">
              <a:buNone/>
              <a:defRPr sz="1575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57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29085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40295" y="574987"/>
            <a:ext cx="1940525" cy="915230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8719" y="574987"/>
            <a:ext cx="5709082" cy="915230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296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021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31" y="2692444"/>
            <a:ext cx="7762102" cy="4492401"/>
          </a:xfrm>
        </p:spPr>
        <p:txBody>
          <a:bodyPr anchor="b"/>
          <a:lstStyle>
            <a:lvl1pPr>
              <a:defRPr sz="590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031" y="7227345"/>
            <a:ext cx="7762102" cy="2362447"/>
          </a:xfrm>
        </p:spPr>
        <p:txBody>
          <a:bodyPr/>
          <a:lstStyle>
            <a:lvl1pPr marL="0" indent="0">
              <a:buNone/>
              <a:defRPr sz="2362">
                <a:solidFill>
                  <a:schemeClr val="tx1">
                    <a:tint val="82000"/>
                  </a:schemeClr>
                </a:solidFill>
              </a:defRPr>
            </a:lvl1pPr>
            <a:lvl2pPr marL="449976" indent="0">
              <a:buNone/>
              <a:defRPr sz="1968">
                <a:solidFill>
                  <a:schemeClr val="tx1">
                    <a:tint val="82000"/>
                  </a:schemeClr>
                </a:solidFill>
              </a:defRPr>
            </a:lvl2pPr>
            <a:lvl3pPr marL="899952" indent="0">
              <a:buNone/>
              <a:defRPr sz="1772">
                <a:solidFill>
                  <a:schemeClr val="tx1">
                    <a:tint val="82000"/>
                  </a:schemeClr>
                </a:solidFill>
              </a:defRPr>
            </a:lvl3pPr>
            <a:lvl4pPr marL="1349929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4pPr>
            <a:lvl5pPr marL="1799905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5pPr>
            <a:lvl6pPr marL="2249881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6pPr>
            <a:lvl7pPr marL="2699857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7pPr>
            <a:lvl8pPr marL="3149834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8pPr>
            <a:lvl9pPr marL="3599810" indent="0">
              <a:buNone/>
              <a:defRPr sz="1575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4429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8718" y="2874937"/>
            <a:ext cx="3824804" cy="68523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016" y="2874937"/>
            <a:ext cx="3824804" cy="68523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58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90" y="574990"/>
            <a:ext cx="7762102" cy="208745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891" y="2647443"/>
            <a:ext cx="3807226" cy="1297471"/>
          </a:xfrm>
        </p:spPr>
        <p:txBody>
          <a:bodyPr anchor="b"/>
          <a:lstStyle>
            <a:lvl1pPr marL="0" indent="0">
              <a:buNone/>
              <a:defRPr sz="2362" b="1"/>
            </a:lvl1pPr>
            <a:lvl2pPr marL="449976" indent="0">
              <a:buNone/>
              <a:defRPr sz="1968" b="1"/>
            </a:lvl2pPr>
            <a:lvl3pPr marL="899952" indent="0">
              <a:buNone/>
              <a:defRPr sz="1772" b="1"/>
            </a:lvl3pPr>
            <a:lvl4pPr marL="1349929" indent="0">
              <a:buNone/>
              <a:defRPr sz="1575" b="1"/>
            </a:lvl4pPr>
            <a:lvl5pPr marL="1799905" indent="0">
              <a:buNone/>
              <a:defRPr sz="1575" b="1"/>
            </a:lvl5pPr>
            <a:lvl6pPr marL="2249881" indent="0">
              <a:buNone/>
              <a:defRPr sz="1575" b="1"/>
            </a:lvl6pPr>
            <a:lvl7pPr marL="2699857" indent="0">
              <a:buNone/>
              <a:defRPr sz="1575" b="1"/>
            </a:lvl7pPr>
            <a:lvl8pPr marL="3149834" indent="0">
              <a:buNone/>
              <a:defRPr sz="1575" b="1"/>
            </a:lvl8pPr>
            <a:lvl9pPr marL="3599810" indent="0">
              <a:buNone/>
              <a:defRPr sz="1575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891" y="3944914"/>
            <a:ext cx="3807226" cy="580237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6017" y="2647443"/>
            <a:ext cx="3825976" cy="1297471"/>
          </a:xfrm>
        </p:spPr>
        <p:txBody>
          <a:bodyPr anchor="b"/>
          <a:lstStyle>
            <a:lvl1pPr marL="0" indent="0">
              <a:buNone/>
              <a:defRPr sz="2362" b="1"/>
            </a:lvl1pPr>
            <a:lvl2pPr marL="449976" indent="0">
              <a:buNone/>
              <a:defRPr sz="1968" b="1"/>
            </a:lvl2pPr>
            <a:lvl3pPr marL="899952" indent="0">
              <a:buNone/>
              <a:defRPr sz="1772" b="1"/>
            </a:lvl3pPr>
            <a:lvl4pPr marL="1349929" indent="0">
              <a:buNone/>
              <a:defRPr sz="1575" b="1"/>
            </a:lvl4pPr>
            <a:lvl5pPr marL="1799905" indent="0">
              <a:buNone/>
              <a:defRPr sz="1575" b="1"/>
            </a:lvl5pPr>
            <a:lvl6pPr marL="2249881" indent="0">
              <a:buNone/>
              <a:defRPr sz="1575" b="1"/>
            </a:lvl6pPr>
            <a:lvl7pPr marL="2699857" indent="0">
              <a:buNone/>
              <a:defRPr sz="1575" b="1"/>
            </a:lvl7pPr>
            <a:lvl8pPr marL="3149834" indent="0">
              <a:buNone/>
              <a:defRPr sz="1575" b="1"/>
            </a:lvl8pPr>
            <a:lvl9pPr marL="3599810" indent="0">
              <a:buNone/>
              <a:defRPr sz="1575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6017" y="3944914"/>
            <a:ext cx="3825976" cy="580237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4918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6201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7115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91" y="719984"/>
            <a:ext cx="2902585" cy="2519945"/>
          </a:xfrm>
        </p:spPr>
        <p:txBody>
          <a:bodyPr anchor="b"/>
          <a:lstStyle>
            <a:lvl1pPr>
              <a:defRPr sz="3149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976" y="1554968"/>
            <a:ext cx="4556016" cy="7674832"/>
          </a:xfrm>
        </p:spPr>
        <p:txBody>
          <a:bodyPr/>
          <a:lstStyle>
            <a:lvl1pPr>
              <a:defRPr sz="3149"/>
            </a:lvl1pPr>
            <a:lvl2pPr>
              <a:defRPr sz="2756"/>
            </a:lvl2pPr>
            <a:lvl3pPr>
              <a:defRPr sz="2362"/>
            </a:lvl3pPr>
            <a:lvl4pPr>
              <a:defRPr sz="1968"/>
            </a:lvl4pPr>
            <a:lvl5pPr>
              <a:defRPr sz="1968"/>
            </a:lvl5pPr>
            <a:lvl6pPr>
              <a:defRPr sz="1968"/>
            </a:lvl6pPr>
            <a:lvl7pPr>
              <a:defRPr sz="1968"/>
            </a:lvl7pPr>
            <a:lvl8pPr>
              <a:defRPr sz="1968"/>
            </a:lvl8pPr>
            <a:lvl9pPr>
              <a:defRPr sz="1968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891" y="3239929"/>
            <a:ext cx="2902585" cy="6002369"/>
          </a:xfrm>
        </p:spPr>
        <p:txBody>
          <a:bodyPr/>
          <a:lstStyle>
            <a:lvl1pPr marL="0" indent="0">
              <a:buNone/>
              <a:defRPr sz="1575"/>
            </a:lvl1pPr>
            <a:lvl2pPr marL="449976" indent="0">
              <a:buNone/>
              <a:defRPr sz="1378"/>
            </a:lvl2pPr>
            <a:lvl3pPr marL="899952" indent="0">
              <a:buNone/>
              <a:defRPr sz="1181"/>
            </a:lvl3pPr>
            <a:lvl4pPr marL="1349929" indent="0">
              <a:buNone/>
              <a:defRPr sz="984"/>
            </a:lvl4pPr>
            <a:lvl5pPr marL="1799905" indent="0">
              <a:buNone/>
              <a:defRPr sz="984"/>
            </a:lvl5pPr>
            <a:lvl6pPr marL="2249881" indent="0">
              <a:buNone/>
              <a:defRPr sz="984"/>
            </a:lvl6pPr>
            <a:lvl7pPr marL="2699857" indent="0">
              <a:buNone/>
              <a:defRPr sz="984"/>
            </a:lvl7pPr>
            <a:lvl8pPr marL="3149834" indent="0">
              <a:buNone/>
              <a:defRPr sz="984"/>
            </a:lvl8pPr>
            <a:lvl9pPr marL="3599810" indent="0">
              <a:buNone/>
              <a:defRPr sz="984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5845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91" y="719984"/>
            <a:ext cx="2902585" cy="2519945"/>
          </a:xfrm>
        </p:spPr>
        <p:txBody>
          <a:bodyPr anchor="b"/>
          <a:lstStyle>
            <a:lvl1pPr>
              <a:defRPr sz="3149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25976" y="1554968"/>
            <a:ext cx="4556016" cy="7674832"/>
          </a:xfrm>
        </p:spPr>
        <p:txBody>
          <a:bodyPr anchor="t"/>
          <a:lstStyle>
            <a:lvl1pPr marL="0" indent="0">
              <a:buNone/>
              <a:defRPr sz="3149"/>
            </a:lvl1pPr>
            <a:lvl2pPr marL="449976" indent="0">
              <a:buNone/>
              <a:defRPr sz="2756"/>
            </a:lvl2pPr>
            <a:lvl3pPr marL="899952" indent="0">
              <a:buNone/>
              <a:defRPr sz="2362"/>
            </a:lvl3pPr>
            <a:lvl4pPr marL="1349929" indent="0">
              <a:buNone/>
              <a:defRPr sz="1968"/>
            </a:lvl4pPr>
            <a:lvl5pPr marL="1799905" indent="0">
              <a:buNone/>
              <a:defRPr sz="1968"/>
            </a:lvl5pPr>
            <a:lvl6pPr marL="2249881" indent="0">
              <a:buNone/>
              <a:defRPr sz="1968"/>
            </a:lvl6pPr>
            <a:lvl7pPr marL="2699857" indent="0">
              <a:buNone/>
              <a:defRPr sz="1968"/>
            </a:lvl7pPr>
            <a:lvl8pPr marL="3149834" indent="0">
              <a:buNone/>
              <a:defRPr sz="1968"/>
            </a:lvl8pPr>
            <a:lvl9pPr marL="3599810" indent="0">
              <a:buNone/>
              <a:defRPr sz="1968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891" y="3239929"/>
            <a:ext cx="2902585" cy="6002369"/>
          </a:xfrm>
        </p:spPr>
        <p:txBody>
          <a:bodyPr/>
          <a:lstStyle>
            <a:lvl1pPr marL="0" indent="0">
              <a:buNone/>
              <a:defRPr sz="1575"/>
            </a:lvl1pPr>
            <a:lvl2pPr marL="449976" indent="0">
              <a:buNone/>
              <a:defRPr sz="1378"/>
            </a:lvl2pPr>
            <a:lvl3pPr marL="899952" indent="0">
              <a:buNone/>
              <a:defRPr sz="1181"/>
            </a:lvl3pPr>
            <a:lvl4pPr marL="1349929" indent="0">
              <a:buNone/>
              <a:defRPr sz="984"/>
            </a:lvl4pPr>
            <a:lvl5pPr marL="1799905" indent="0">
              <a:buNone/>
              <a:defRPr sz="984"/>
            </a:lvl5pPr>
            <a:lvl6pPr marL="2249881" indent="0">
              <a:buNone/>
              <a:defRPr sz="984"/>
            </a:lvl6pPr>
            <a:lvl7pPr marL="2699857" indent="0">
              <a:buNone/>
              <a:defRPr sz="984"/>
            </a:lvl7pPr>
            <a:lvl8pPr marL="3149834" indent="0">
              <a:buNone/>
              <a:defRPr sz="984"/>
            </a:lvl8pPr>
            <a:lvl9pPr marL="3599810" indent="0">
              <a:buNone/>
              <a:defRPr sz="984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82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18" y="574990"/>
            <a:ext cx="7762102" cy="2087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8718" y="2874937"/>
            <a:ext cx="7762102" cy="6852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8718" y="10009783"/>
            <a:ext cx="2024896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81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47108D-C0ED-F448-B22F-F3AF4F807C62}" type="datetimeFigureOut">
              <a:rPr lang="en-GB" smtClean="0"/>
              <a:t>15/01/202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1097" y="10009783"/>
            <a:ext cx="3037344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81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55924" y="10009783"/>
            <a:ext cx="2024896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81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002025-0F08-B042-AF50-2F06803BE238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09D9794-07C4-0940-881A-CEE4EE5EA4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3623409"/>
              </p:ext>
            </p:extLst>
          </p:nvPr>
        </p:nvGraphicFramePr>
        <p:xfrm>
          <a:off x="1174" y="2501"/>
          <a:ext cx="905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A926A1-DB7D-0E91-AA38-9D3D0BBD24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74" y="2501"/>
                        <a:ext cx="905" cy="2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64724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899952" rtl="0" eaLnBrk="1" latinLnBrk="0" hangingPunct="1">
        <a:lnSpc>
          <a:spcPct val="90000"/>
        </a:lnSpc>
        <a:spcBef>
          <a:spcPct val="0"/>
        </a:spcBef>
        <a:buNone/>
        <a:defRPr sz="433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4988" indent="-224988" algn="l" defTabSz="899952" rtl="0" eaLnBrk="1" latinLnBrk="0" hangingPunct="1">
        <a:lnSpc>
          <a:spcPct val="90000"/>
        </a:lnSpc>
        <a:spcBef>
          <a:spcPts val="984"/>
        </a:spcBef>
        <a:buFont typeface="Arial" panose="020B0604020202020204" pitchFamily="34" charset="0"/>
        <a:buChar char="•"/>
        <a:defRPr sz="2756" kern="1200">
          <a:solidFill>
            <a:schemeClr val="tx1"/>
          </a:solidFill>
          <a:latin typeface="+mn-lt"/>
          <a:ea typeface="+mn-ea"/>
          <a:cs typeface="+mn-cs"/>
        </a:defRPr>
      </a:lvl1pPr>
      <a:lvl2pPr marL="674964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2362" kern="1200">
          <a:solidFill>
            <a:schemeClr val="tx1"/>
          </a:solidFill>
          <a:latin typeface="+mn-lt"/>
          <a:ea typeface="+mn-ea"/>
          <a:cs typeface="+mn-cs"/>
        </a:defRPr>
      </a:lvl2pPr>
      <a:lvl3pPr marL="1124941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3pPr>
      <a:lvl4pPr marL="1574917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4pPr>
      <a:lvl5pPr marL="2024893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5pPr>
      <a:lvl6pPr marL="2474869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6pPr>
      <a:lvl7pPr marL="2924846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7pPr>
      <a:lvl8pPr marL="3374822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8pPr>
      <a:lvl9pPr marL="3824798" indent="-224988" algn="l" defTabSz="899952" rtl="0" eaLnBrk="1" latinLnBrk="0" hangingPunct="1">
        <a:lnSpc>
          <a:spcPct val="90000"/>
        </a:lnSpc>
        <a:spcBef>
          <a:spcPts val="492"/>
        </a:spcBef>
        <a:buFont typeface="Arial" panose="020B0604020202020204" pitchFamily="34" charset="0"/>
        <a:buChar char="•"/>
        <a:defRPr sz="177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1pPr>
      <a:lvl2pPr marL="449976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2pPr>
      <a:lvl3pPr marL="899952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3pPr>
      <a:lvl4pPr marL="1349929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4pPr>
      <a:lvl5pPr marL="1799905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5pPr>
      <a:lvl6pPr marL="2249881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6pPr>
      <a:lvl7pPr marL="2699857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7pPr>
      <a:lvl8pPr marL="3149834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8pPr>
      <a:lvl9pPr marL="3599810" algn="l" defTabSz="899952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1913581-0B0B-0882-ACE0-C2F1E708F6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534243"/>
              </p:ext>
            </p:extLst>
          </p:nvPr>
        </p:nvGraphicFramePr>
        <p:xfrm>
          <a:off x="-1937123" y="2908965"/>
          <a:ext cx="892" cy="11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937123" y="2908965"/>
                        <a:ext cx="892" cy="11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DA9DCFB-C534-E69D-C907-C343FEC5AE7D}"/>
              </a:ext>
            </a:extLst>
          </p:cNvPr>
          <p:cNvSpPr txBox="1"/>
          <p:nvPr/>
        </p:nvSpPr>
        <p:spPr>
          <a:xfrm rot="16200000">
            <a:off x="-2113308" y="2306294"/>
            <a:ext cx="49511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Continuous Credit Numb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5A1110-DF70-5720-AA99-D1894385B993}"/>
              </a:ext>
            </a:extLst>
          </p:cNvPr>
          <p:cNvSpPr txBox="1"/>
          <p:nvPr/>
        </p:nvSpPr>
        <p:spPr>
          <a:xfrm rot="16200000">
            <a:off x="-875522" y="7771321"/>
            <a:ext cx="2475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Binary Credit Indica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BEC61-A857-9204-9F1A-451CCE09FD2D}"/>
              </a:ext>
            </a:extLst>
          </p:cNvPr>
          <p:cNvSpPr txBox="1"/>
          <p:nvPr/>
        </p:nvSpPr>
        <p:spPr>
          <a:xfrm>
            <a:off x="1275358" y="879157"/>
            <a:ext cx="29687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Excluding INPEX Corpo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FE6F37-89BB-2B73-CB21-9B8C6AF67A67}"/>
              </a:ext>
            </a:extLst>
          </p:cNvPr>
          <p:cNvSpPr txBox="1"/>
          <p:nvPr/>
        </p:nvSpPr>
        <p:spPr>
          <a:xfrm>
            <a:off x="5408094" y="878801"/>
            <a:ext cx="3329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Including INPEX Corpor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463432-3962-9009-5606-9FABD6CEB7A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6246" t="19872" r="1150" b="69067"/>
          <a:stretch/>
        </p:blipFill>
        <p:spPr>
          <a:xfrm>
            <a:off x="2898814" y="44662"/>
            <a:ext cx="3201910" cy="7248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1E34F6-A273-2E76-3504-B7FACB0EEF2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61007" y="1571803"/>
            <a:ext cx="4068000" cy="406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9B5D70-06D1-760C-45CB-90E51200A3F7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25741" y="5964387"/>
            <a:ext cx="4068000" cy="406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673CE9-88FF-C83E-3645-EBF8B236F33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858474" y="5964387"/>
            <a:ext cx="4068000" cy="40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E2A2884-C5DC-8297-1CF1-266AA4FE4F9A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4858474" y="1571803"/>
            <a:ext cx="4068000" cy="406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BD9EEEE-FD20-5864-3ACF-6D4553FF37BE}"/>
              </a:ext>
            </a:extLst>
          </p:cNvPr>
          <p:cNvSpPr/>
          <p:nvPr/>
        </p:nvSpPr>
        <p:spPr>
          <a:xfrm>
            <a:off x="661006" y="1351722"/>
            <a:ext cx="4132735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938323-FBF1-8F6E-8CA8-99DDCC429B37}"/>
              </a:ext>
            </a:extLst>
          </p:cNvPr>
          <p:cNvSpPr/>
          <p:nvPr/>
        </p:nvSpPr>
        <p:spPr>
          <a:xfrm>
            <a:off x="4793741" y="1351721"/>
            <a:ext cx="4132733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34B082-902B-42E2-EFFC-C7A82E447901}"/>
              </a:ext>
            </a:extLst>
          </p:cNvPr>
          <p:cNvSpPr/>
          <p:nvPr/>
        </p:nvSpPr>
        <p:spPr>
          <a:xfrm>
            <a:off x="661006" y="5744307"/>
            <a:ext cx="4132735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168C1CA-C911-9D6F-9425-7E46AB4E0C1C}"/>
              </a:ext>
            </a:extLst>
          </p:cNvPr>
          <p:cNvSpPr/>
          <p:nvPr/>
        </p:nvSpPr>
        <p:spPr>
          <a:xfrm>
            <a:off x="4793741" y="5744306"/>
            <a:ext cx="4132733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BAB6C6-FD9A-B4CA-67F1-1F20665AA036}"/>
              </a:ext>
            </a:extLst>
          </p:cNvPr>
          <p:cNvSpPr/>
          <p:nvPr/>
        </p:nvSpPr>
        <p:spPr>
          <a:xfrm>
            <a:off x="73064" y="1351721"/>
            <a:ext cx="587942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32AA886-AA3D-B80D-790C-3F6300B50C55}"/>
              </a:ext>
            </a:extLst>
          </p:cNvPr>
          <p:cNvSpPr/>
          <p:nvPr/>
        </p:nvSpPr>
        <p:spPr>
          <a:xfrm>
            <a:off x="72000" y="5744306"/>
            <a:ext cx="587942" cy="439258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EF17A9-9874-F74E-02A5-7B48285ABF76}"/>
              </a:ext>
            </a:extLst>
          </p:cNvPr>
          <p:cNvSpPr/>
          <p:nvPr/>
        </p:nvSpPr>
        <p:spPr>
          <a:xfrm rot="5400000">
            <a:off x="2432339" y="-1013505"/>
            <a:ext cx="587942" cy="4132735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C8530C-4104-DF03-900F-5C537E9C6306}"/>
              </a:ext>
            </a:extLst>
          </p:cNvPr>
          <p:cNvSpPr/>
          <p:nvPr/>
        </p:nvSpPr>
        <p:spPr>
          <a:xfrm rot="5400000">
            <a:off x="6566669" y="-1012974"/>
            <a:ext cx="587942" cy="413167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3BB9C24-1314-32D2-E4B6-9BBDA61EBB80}"/>
              </a:ext>
            </a:extLst>
          </p:cNvPr>
          <p:cNvSpPr txBox="1"/>
          <p:nvPr/>
        </p:nvSpPr>
        <p:spPr>
          <a:xfrm>
            <a:off x="651462" y="1332292"/>
            <a:ext cx="914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(a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8459492-6006-4F39-3B8F-93729C16A61C}"/>
              </a:ext>
            </a:extLst>
          </p:cNvPr>
          <p:cNvSpPr txBox="1"/>
          <p:nvPr/>
        </p:nvSpPr>
        <p:spPr>
          <a:xfrm>
            <a:off x="4784197" y="1332000"/>
            <a:ext cx="914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(b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63A6C2-949C-68C5-6962-1359184484EC}"/>
              </a:ext>
            </a:extLst>
          </p:cNvPr>
          <p:cNvSpPr txBox="1"/>
          <p:nvPr/>
        </p:nvSpPr>
        <p:spPr>
          <a:xfrm>
            <a:off x="651600" y="5744306"/>
            <a:ext cx="914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(c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7B4550D-318F-A3CE-AA62-C34204DB7765}"/>
              </a:ext>
            </a:extLst>
          </p:cNvPr>
          <p:cNvSpPr txBox="1"/>
          <p:nvPr/>
        </p:nvSpPr>
        <p:spPr>
          <a:xfrm>
            <a:off x="4784400" y="5710670"/>
            <a:ext cx="914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(d)</a:t>
            </a:r>
          </a:p>
        </p:txBody>
      </p:sp>
    </p:spTree>
    <p:extLst>
      <p:ext uri="{BB962C8B-B14F-4D97-AF65-F5344CB8AC3E}">
        <p14:creationId xmlns:p14="http://schemas.microsoft.com/office/powerpoint/2010/main" val="116549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25</TotalTime>
  <Words>25</Words>
  <Application>Microsoft Macintosh PowerPoint</Application>
  <PresentationFormat>Custom</PresentationFormat>
  <Paragraphs>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olz  Niklas</dc:creator>
  <cp:lastModifiedBy>Stolz  Niklas</cp:lastModifiedBy>
  <cp:revision>4</cp:revision>
  <dcterms:created xsi:type="dcterms:W3CDTF">2025-01-14T18:20:38Z</dcterms:created>
  <dcterms:modified xsi:type="dcterms:W3CDTF">2025-01-16T12:37:22Z</dcterms:modified>
</cp:coreProperties>
</file>